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8" r:id="rId1"/>
  </p:sldMasterIdLst>
  <p:notesMasterIdLst>
    <p:notesMasterId r:id="rId7"/>
  </p:notesMasterIdLst>
  <p:sldIdLst>
    <p:sldId id="256" r:id="rId2"/>
    <p:sldId id="2145707837" r:id="rId3"/>
    <p:sldId id="2145707841" r:id="rId4"/>
    <p:sldId id="2145707839" r:id="rId5"/>
    <p:sldId id="2145707840" r:id="rId6"/>
  </p:sldIdLst>
  <p:sldSz cx="6858000" cy="9906000" type="A4"/>
  <p:notesSz cx="6807200" cy="99393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5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3B6F5F9-5B3B-4E4D-A899-AB966508EEAF}" v="1" dt="2023-08-02T13:24:15.4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1"/>
    <p:restoredTop sz="94694"/>
  </p:normalViewPr>
  <p:slideViewPr>
    <p:cSldViewPr snapToGrid="0">
      <p:cViewPr varScale="1">
        <p:scale>
          <a:sx n="55" d="100"/>
          <a:sy n="55" d="100"/>
        </p:scale>
        <p:origin x="264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4" d="100"/>
          <a:sy n="64" d="100"/>
        </p:scale>
        <p:origin x="3192" y="5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6/11/relationships/changesInfo" Target="changesInfos/changesInfo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seki shuichi" userId="22ca00780100fab7" providerId="Windows Live" clId="Web-{D19CC781-75B9-4C18-ABE3-1B32D91DA901}"/>
    <pc:docChg chg="modSld">
      <pc:chgData name="iseki shuichi" userId="22ca00780100fab7" providerId="Windows Live" clId="Web-{D19CC781-75B9-4C18-ABE3-1B32D91DA901}" dt="2023-07-24T05:04:49.047" v="1"/>
      <pc:docMkLst>
        <pc:docMk/>
      </pc:docMkLst>
      <pc:sldChg chg="modSp">
        <pc:chgData name="iseki shuichi" userId="22ca00780100fab7" providerId="Windows Live" clId="Web-{D19CC781-75B9-4C18-ABE3-1B32D91DA901}" dt="2023-07-24T05:04:49.047" v="1"/>
        <pc:sldMkLst>
          <pc:docMk/>
          <pc:sldMk cId="2817180806" sldId="2145707839"/>
        </pc:sldMkLst>
        <pc:graphicFrameChg chg="modGraphic">
          <ac:chgData name="iseki shuichi" userId="22ca00780100fab7" providerId="Windows Live" clId="Web-{D19CC781-75B9-4C18-ABE3-1B32D91DA901}" dt="2023-07-24T05:04:49.047" v="1"/>
          <ac:graphicFrameMkLst>
            <pc:docMk/>
            <pc:sldMk cId="2817180806" sldId="2145707839"/>
            <ac:graphicFrameMk id="20" creationId="{EF45751B-BDF2-9549-20FF-E88C0A8FFA7B}"/>
          </ac:graphicFrameMkLst>
        </pc:graphicFrameChg>
      </pc:sldChg>
    </pc:docChg>
  </pc:docChgLst>
  <pc:docChgLst>
    <pc:chgData name="shuichi iseki" userId="22ca00780100fab7" providerId="LiveId" clId="{D3B6F5F9-5B3B-4E4D-A899-AB966508EEAF}"/>
    <pc:docChg chg="undo custSel modSld">
      <pc:chgData name="shuichi iseki" userId="22ca00780100fab7" providerId="LiveId" clId="{D3B6F5F9-5B3B-4E4D-A899-AB966508EEAF}" dt="2023-08-02T13:24:32.655" v="4" actId="14734"/>
      <pc:docMkLst>
        <pc:docMk/>
      </pc:docMkLst>
      <pc:sldChg chg="modSp mod">
        <pc:chgData name="shuichi iseki" userId="22ca00780100fab7" providerId="LiveId" clId="{D3B6F5F9-5B3B-4E4D-A899-AB966508EEAF}" dt="2023-08-02T13:24:32.655" v="4" actId="14734"/>
        <pc:sldMkLst>
          <pc:docMk/>
          <pc:sldMk cId="1842374520" sldId="2145707840"/>
        </pc:sldMkLst>
        <pc:graphicFrameChg chg="mod modGraphic">
          <ac:chgData name="shuichi iseki" userId="22ca00780100fab7" providerId="LiveId" clId="{D3B6F5F9-5B3B-4E4D-A899-AB966508EEAF}" dt="2023-08-02T13:24:32.655" v="4" actId="14734"/>
          <ac:graphicFrameMkLst>
            <pc:docMk/>
            <pc:sldMk cId="1842374520" sldId="2145707840"/>
            <ac:graphicFrameMk id="15" creationId="{58842B25-534C-BDF0-2FBC-3E8106E52033}"/>
          </ac:graphicFrameMkLst>
        </pc:graphicFrameChg>
      </pc:sldChg>
    </pc:docChg>
  </pc:docChgLst>
  <pc:docChgLst>
    <pc:chgData name="iseki shuichi" userId="22ca00780100fab7" providerId="Windows Live" clId="Web-{2D224D46-2A45-4D0B-8015-32FB64D2A6C4}"/>
    <pc:docChg chg="modSld">
      <pc:chgData name="iseki shuichi" userId="22ca00780100fab7" providerId="Windows Live" clId="Web-{2D224D46-2A45-4D0B-8015-32FB64D2A6C4}" dt="2023-07-24T07:02:18.104" v="132" actId="20577"/>
      <pc:docMkLst>
        <pc:docMk/>
      </pc:docMkLst>
      <pc:sldChg chg="modSp">
        <pc:chgData name="iseki shuichi" userId="22ca00780100fab7" providerId="Windows Live" clId="Web-{2D224D46-2A45-4D0B-8015-32FB64D2A6C4}" dt="2023-07-24T07:02:01.854" v="128" actId="20577"/>
        <pc:sldMkLst>
          <pc:docMk/>
          <pc:sldMk cId="1998691687" sldId="2145707837"/>
        </pc:sldMkLst>
        <pc:spChg chg="mod">
          <ac:chgData name="iseki shuichi" userId="22ca00780100fab7" providerId="Windows Live" clId="Web-{2D224D46-2A45-4D0B-8015-32FB64D2A6C4}" dt="2023-07-24T07:02:01.854" v="128" actId="20577"/>
          <ac:spMkLst>
            <pc:docMk/>
            <pc:sldMk cId="1998691687" sldId="2145707837"/>
            <ac:spMk id="2" creationId="{29B91193-EDBA-4FFD-BF5D-09138EDC2C56}"/>
          </ac:spMkLst>
        </pc:spChg>
      </pc:sldChg>
      <pc:sldChg chg="modSp">
        <pc:chgData name="iseki shuichi" userId="22ca00780100fab7" providerId="Windows Live" clId="Web-{2D224D46-2A45-4D0B-8015-32FB64D2A6C4}" dt="2023-07-24T07:02:11.120" v="130" actId="20577"/>
        <pc:sldMkLst>
          <pc:docMk/>
          <pc:sldMk cId="2817180806" sldId="2145707839"/>
        </pc:sldMkLst>
        <pc:spChg chg="mod">
          <ac:chgData name="iseki shuichi" userId="22ca00780100fab7" providerId="Windows Live" clId="Web-{2D224D46-2A45-4D0B-8015-32FB64D2A6C4}" dt="2023-07-24T07:02:11.120" v="130" actId="20577"/>
          <ac:spMkLst>
            <pc:docMk/>
            <pc:sldMk cId="2817180806" sldId="2145707839"/>
            <ac:spMk id="22" creationId="{9CCA6437-423D-C4B3-B5AE-0627BBD839F4}"/>
          </ac:spMkLst>
        </pc:spChg>
        <pc:graphicFrameChg chg="mod modGraphic">
          <ac:chgData name="iseki shuichi" userId="22ca00780100fab7" providerId="Windows Live" clId="Web-{2D224D46-2A45-4D0B-8015-32FB64D2A6C4}" dt="2023-07-24T06:59:21.850" v="94"/>
          <ac:graphicFrameMkLst>
            <pc:docMk/>
            <pc:sldMk cId="2817180806" sldId="2145707839"/>
            <ac:graphicFrameMk id="15" creationId="{58842B25-534C-BDF0-2FBC-3E8106E52033}"/>
          </ac:graphicFrameMkLst>
        </pc:graphicFrameChg>
      </pc:sldChg>
      <pc:sldChg chg="addSp delSp modSp">
        <pc:chgData name="iseki shuichi" userId="22ca00780100fab7" providerId="Windows Live" clId="Web-{2D224D46-2A45-4D0B-8015-32FB64D2A6C4}" dt="2023-07-24T07:02:18.104" v="132" actId="20577"/>
        <pc:sldMkLst>
          <pc:docMk/>
          <pc:sldMk cId="1842374520" sldId="2145707840"/>
        </pc:sldMkLst>
        <pc:spChg chg="add del mod">
          <ac:chgData name="iseki shuichi" userId="22ca00780100fab7" providerId="Windows Live" clId="Web-{2D224D46-2A45-4D0B-8015-32FB64D2A6C4}" dt="2023-07-24T06:42:44.808" v="12"/>
          <ac:spMkLst>
            <pc:docMk/>
            <pc:sldMk cId="1842374520" sldId="2145707840"/>
            <ac:spMk id="4" creationId="{92B7D4ED-6280-A65F-A54D-EBEFEF88B484}"/>
          </ac:spMkLst>
        </pc:spChg>
        <pc:spChg chg="mod">
          <ac:chgData name="iseki shuichi" userId="22ca00780100fab7" providerId="Windows Live" clId="Web-{2D224D46-2A45-4D0B-8015-32FB64D2A6C4}" dt="2023-07-24T07:01:16.900" v="126" actId="1076"/>
          <ac:spMkLst>
            <pc:docMk/>
            <pc:sldMk cId="1842374520" sldId="2145707840"/>
            <ac:spMk id="5" creationId="{EF20157F-5768-362B-F34C-4B60575B0904}"/>
          </ac:spMkLst>
        </pc:spChg>
        <pc:spChg chg="mod">
          <ac:chgData name="iseki shuichi" userId="22ca00780100fab7" providerId="Windows Live" clId="Web-{2D224D46-2A45-4D0B-8015-32FB64D2A6C4}" dt="2023-07-24T07:02:18.104" v="132" actId="20577"/>
          <ac:spMkLst>
            <pc:docMk/>
            <pc:sldMk cId="1842374520" sldId="2145707840"/>
            <ac:spMk id="22" creationId="{9CCA6437-423D-C4B3-B5AE-0627BBD839F4}"/>
          </ac:spMkLst>
        </pc:spChg>
        <pc:graphicFrameChg chg="mod modGraphic">
          <ac:chgData name="iseki shuichi" userId="22ca00780100fab7" providerId="Windows Live" clId="Web-{2D224D46-2A45-4D0B-8015-32FB64D2A6C4}" dt="2023-07-24T06:59:38.381" v="104"/>
          <ac:graphicFrameMkLst>
            <pc:docMk/>
            <pc:sldMk cId="1842374520" sldId="2145707840"/>
            <ac:graphicFrameMk id="15" creationId="{58842B25-534C-BDF0-2FBC-3E8106E52033}"/>
          </ac:graphicFrameMkLst>
        </pc:graphicFrameChg>
      </pc:sldChg>
    </pc:docChg>
  </pc:docChgLst>
  <pc:docChgLst>
    <pc:chgData name="iseki shuichi" userId="22ca00780100fab7" providerId="Windows Live" clId="Web-{F4534FA9-F034-4F8F-BCC7-DE2B6731C26C}"/>
    <pc:docChg chg="modSld">
      <pc:chgData name="iseki shuichi" userId="22ca00780100fab7" providerId="Windows Live" clId="Web-{F4534FA9-F034-4F8F-BCC7-DE2B6731C26C}" dt="2023-07-25T07:37:21.276" v="10"/>
      <pc:docMkLst>
        <pc:docMk/>
      </pc:docMkLst>
      <pc:sldChg chg="modSp">
        <pc:chgData name="iseki shuichi" userId="22ca00780100fab7" providerId="Windows Live" clId="Web-{F4534FA9-F034-4F8F-BCC7-DE2B6731C26C}" dt="2023-07-25T07:37:21.276" v="10"/>
        <pc:sldMkLst>
          <pc:docMk/>
          <pc:sldMk cId="1842374520" sldId="2145707840"/>
        </pc:sldMkLst>
        <pc:graphicFrameChg chg="mod modGraphic">
          <ac:chgData name="iseki shuichi" userId="22ca00780100fab7" providerId="Windows Live" clId="Web-{F4534FA9-F034-4F8F-BCC7-DE2B6731C26C}" dt="2023-07-25T07:36:43.118" v="2"/>
          <ac:graphicFrameMkLst>
            <pc:docMk/>
            <pc:sldMk cId="1842374520" sldId="2145707840"/>
            <ac:graphicFrameMk id="2" creationId="{EF61C181-4A8A-9111-99CB-B8EC3E5C238C}"/>
          </ac:graphicFrameMkLst>
        </pc:graphicFrameChg>
        <pc:graphicFrameChg chg="mod modGraphic">
          <ac:chgData name="iseki shuichi" userId="22ca00780100fab7" providerId="Windows Live" clId="Web-{F4534FA9-F034-4F8F-BCC7-DE2B6731C26C}" dt="2023-07-25T07:37:21.276" v="10"/>
          <ac:graphicFrameMkLst>
            <pc:docMk/>
            <pc:sldMk cId="1842374520" sldId="2145707840"/>
            <ac:graphicFrameMk id="15" creationId="{58842B25-534C-BDF0-2FBC-3E8106E52033}"/>
          </ac:graphicFrameMkLst>
        </pc:graphicFrameChg>
      </pc:sldChg>
    </pc:docChg>
  </pc:docChgLst>
  <pc:docChgLst>
    <pc:chgData name="iseki shuichi" userId="22ca00780100fab7" providerId="Windows Live" clId="Web-{D1B25751-E985-441A-9B24-80936B5406B1}"/>
    <pc:docChg chg="modSld">
      <pc:chgData name="iseki shuichi" userId="22ca00780100fab7" providerId="Windows Live" clId="Web-{D1B25751-E985-441A-9B24-80936B5406B1}" dt="2023-07-24T03:10:28.489" v="210"/>
      <pc:docMkLst>
        <pc:docMk/>
      </pc:docMkLst>
      <pc:sldChg chg="modSp">
        <pc:chgData name="iseki shuichi" userId="22ca00780100fab7" providerId="Windows Live" clId="Web-{D1B25751-E985-441A-9B24-80936B5406B1}" dt="2023-07-24T02:48:18.648" v="64"/>
        <pc:sldMkLst>
          <pc:docMk/>
          <pc:sldMk cId="1998691687" sldId="2145707837"/>
        </pc:sldMkLst>
        <pc:spChg chg="mod">
          <ac:chgData name="iseki shuichi" userId="22ca00780100fab7" providerId="Windows Live" clId="Web-{D1B25751-E985-441A-9B24-80936B5406B1}" dt="2023-07-24T02:43:32.516" v="4" actId="14100"/>
          <ac:spMkLst>
            <pc:docMk/>
            <pc:sldMk cId="1998691687" sldId="2145707837"/>
            <ac:spMk id="9" creationId="{FEDA0F1D-115A-33E3-7125-EA710E16C2E6}"/>
          </ac:spMkLst>
        </pc:spChg>
        <pc:graphicFrameChg chg="mod modGraphic">
          <ac:chgData name="iseki shuichi" userId="22ca00780100fab7" providerId="Windows Live" clId="Web-{D1B25751-E985-441A-9B24-80936B5406B1}" dt="2023-07-24T02:48:18.648" v="64"/>
          <ac:graphicFrameMkLst>
            <pc:docMk/>
            <pc:sldMk cId="1998691687" sldId="2145707837"/>
            <ac:graphicFrameMk id="15" creationId="{1D4CB901-A265-FA27-C066-8A3953D299F8}"/>
          </ac:graphicFrameMkLst>
        </pc:graphicFrameChg>
      </pc:sldChg>
      <pc:sldChg chg="modSp">
        <pc:chgData name="iseki shuichi" userId="22ca00780100fab7" providerId="Windows Live" clId="Web-{D1B25751-E985-441A-9B24-80936B5406B1}" dt="2023-07-24T03:10:28.489" v="210"/>
        <pc:sldMkLst>
          <pc:docMk/>
          <pc:sldMk cId="2817180806" sldId="2145707839"/>
        </pc:sldMkLst>
        <pc:graphicFrameChg chg="mod modGraphic">
          <ac:chgData name="iseki shuichi" userId="22ca00780100fab7" providerId="Windows Live" clId="Web-{D1B25751-E985-441A-9B24-80936B5406B1}" dt="2023-07-24T02:58:16.770" v="148"/>
          <ac:graphicFrameMkLst>
            <pc:docMk/>
            <pc:sldMk cId="2817180806" sldId="2145707839"/>
            <ac:graphicFrameMk id="15" creationId="{58842B25-534C-BDF0-2FBC-3E8106E52033}"/>
          </ac:graphicFrameMkLst>
        </pc:graphicFrameChg>
        <pc:graphicFrameChg chg="mod modGraphic">
          <ac:chgData name="iseki shuichi" userId="22ca00780100fab7" providerId="Windows Live" clId="Web-{D1B25751-E985-441A-9B24-80936B5406B1}" dt="2023-07-24T03:10:28.489" v="210"/>
          <ac:graphicFrameMkLst>
            <pc:docMk/>
            <pc:sldMk cId="2817180806" sldId="2145707839"/>
            <ac:graphicFrameMk id="20" creationId="{EF45751B-BDF2-9549-20FF-E88C0A8FFA7B}"/>
          </ac:graphicFrameMkLst>
        </pc:graphicFrameChg>
      </pc:sldChg>
    </pc:docChg>
  </pc:docChgLst>
  <pc:docChgLst>
    <pc:chgData name="Matsuki Ko" userId="acecf8faf8d1f709" providerId="LiveId" clId="{F6FA6C4C-41B3-44C5-978E-FA3B87AEFA8B}"/>
    <pc:docChg chg="undo custSel addSld delSld modSld">
      <pc:chgData name="Matsuki Ko" userId="acecf8faf8d1f709" providerId="LiveId" clId="{F6FA6C4C-41B3-44C5-978E-FA3B87AEFA8B}" dt="2023-08-01T01:07:50.010" v="263" actId="20577"/>
      <pc:docMkLst>
        <pc:docMk/>
      </pc:docMkLst>
      <pc:sldChg chg="delSp modSp mod">
        <pc:chgData name="Matsuki Ko" userId="acecf8faf8d1f709" providerId="LiveId" clId="{F6FA6C4C-41B3-44C5-978E-FA3B87AEFA8B}" dt="2023-07-24T06:44:11.618" v="180" actId="478"/>
        <pc:sldMkLst>
          <pc:docMk/>
          <pc:sldMk cId="1998691687" sldId="2145707837"/>
        </pc:sldMkLst>
        <pc:spChg chg="del">
          <ac:chgData name="Matsuki Ko" userId="acecf8faf8d1f709" providerId="LiveId" clId="{F6FA6C4C-41B3-44C5-978E-FA3B87AEFA8B}" dt="2023-07-24T06:44:11.618" v="180" actId="478"/>
          <ac:spMkLst>
            <pc:docMk/>
            <pc:sldMk cId="1998691687" sldId="2145707837"/>
            <ac:spMk id="9" creationId="{FEDA0F1D-115A-33E3-7125-EA710E16C2E6}"/>
          </ac:spMkLst>
        </pc:spChg>
        <pc:graphicFrameChg chg="modGraphic">
          <ac:chgData name="Matsuki Ko" userId="acecf8faf8d1f709" providerId="LiveId" clId="{F6FA6C4C-41B3-44C5-978E-FA3B87AEFA8B}" dt="2023-07-24T02:42:49.947" v="1" actId="242"/>
          <ac:graphicFrameMkLst>
            <pc:docMk/>
            <pc:sldMk cId="1998691687" sldId="2145707837"/>
            <ac:graphicFrameMk id="15" creationId="{1D4CB901-A265-FA27-C066-8A3953D299F8}"/>
          </ac:graphicFrameMkLst>
        </pc:graphicFrameChg>
      </pc:sldChg>
      <pc:sldChg chg="modSp mod">
        <pc:chgData name="Matsuki Ko" userId="acecf8faf8d1f709" providerId="LiveId" clId="{F6FA6C4C-41B3-44C5-978E-FA3B87AEFA8B}" dt="2023-07-24T06:36:11.956" v="23" actId="20577"/>
        <pc:sldMkLst>
          <pc:docMk/>
          <pc:sldMk cId="2817180806" sldId="2145707839"/>
        </pc:sldMkLst>
        <pc:graphicFrameChg chg="modGraphic">
          <ac:chgData name="Matsuki Ko" userId="acecf8faf8d1f709" providerId="LiveId" clId="{F6FA6C4C-41B3-44C5-978E-FA3B87AEFA8B}" dt="2023-07-24T06:36:11.956" v="23" actId="20577"/>
          <ac:graphicFrameMkLst>
            <pc:docMk/>
            <pc:sldMk cId="2817180806" sldId="2145707839"/>
            <ac:graphicFrameMk id="15" creationId="{58842B25-534C-BDF0-2FBC-3E8106E52033}"/>
          </ac:graphicFrameMkLst>
        </pc:graphicFrameChg>
        <pc:graphicFrameChg chg="modGraphic">
          <ac:chgData name="Matsuki Ko" userId="acecf8faf8d1f709" providerId="LiveId" clId="{F6FA6C4C-41B3-44C5-978E-FA3B87AEFA8B}" dt="2023-07-24T06:33:03.562" v="3" actId="207"/>
          <ac:graphicFrameMkLst>
            <pc:docMk/>
            <pc:sldMk cId="2817180806" sldId="2145707839"/>
            <ac:graphicFrameMk id="20" creationId="{EF45751B-BDF2-9549-20FF-E88C0A8FFA7B}"/>
          </ac:graphicFrameMkLst>
        </pc:graphicFrameChg>
      </pc:sldChg>
      <pc:sldChg chg="addSp modSp mod">
        <pc:chgData name="Matsuki Ko" userId="acecf8faf8d1f709" providerId="LiveId" clId="{F6FA6C4C-41B3-44C5-978E-FA3B87AEFA8B}" dt="2023-08-01T01:07:50.010" v="263" actId="20577"/>
        <pc:sldMkLst>
          <pc:docMk/>
          <pc:sldMk cId="1842374520" sldId="2145707840"/>
        </pc:sldMkLst>
        <pc:spChg chg="add mod">
          <ac:chgData name="Matsuki Ko" userId="acecf8faf8d1f709" providerId="LiveId" clId="{F6FA6C4C-41B3-44C5-978E-FA3B87AEFA8B}" dt="2023-08-01T01:07:50.010" v="263" actId="20577"/>
          <ac:spMkLst>
            <pc:docMk/>
            <pc:sldMk cId="1842374520" sldId="2145707840"/>
            <ac:spMk id="3" creationId="{FE2B90BD-63DC-ED1C-4245-7B367DEAE357}"/>
          </ac:spMkLst>
        </pc:spChg>
        <pc:spChg chg="mod">
          <ac:chgData name="Matsuki Ko" userId="acecf8faf8d1f709" providerId="LiveId" clId="{F6FA6C4C-41B3-44C5-978E-FA3B87AEFA8B}" dt="2023-07-24T06:43:46.492" v="178" actId="1076"/>
          <ac:spMkLst>
            <pc:docMk/>
            <pc:sldMk cId="1842374520" sldId="2145707840"/>
            <ac:spMk id="5" creationId="{EF20157F-5768-362B-F34C-4B60575B0904}"/>
          </ac:spMkLst>
        </pc:spChg>
        <pc:graphicFrameChg chg="mod modGraphic">
          <ac:chgData name="Matsuki Ko" userId="acecf8faf8d1f709" providerId="LiveId" clId="{F6FA6C4C-41B3-44C5-978E-FA3B87AEFA8B}" dt="2023-07-24T06:43:14.280" v="177" actId="20577"/>
          <ac:graphicFrameMkLst>
            <pc:docMk/>
            <pc:sldMk cId="1842374520" sldId="2145707840"/>
            <ac:graphicFrameMk id="15" creationId="{58842B25-534C-BDF0-2FBC-3E8106E52033}"/>
          </ac:graphicFrameMkLst>
        </pc:graphicFrameChg>
      </pc:sldChg>
      <pc:sldChg chg="addSp delSp modSp new del mod">
        <pc:chgData name="Matsuki Ko" userId="acecf8faf8d1f709" providerId="LiveId" clId="{F6FA6C4C-41B3-44C5-978E-FA3B87AEFA8B}" dt="2023-07-24T06:43:55.235" v="179" actId="47"/>
        <pc:sldMkLst>
          <pc:docMk/>
          <pc:sldMk cId="2214278982" sldId="2145707841"/>
        </pc:sldMkLst>
        <pc:spChg chg="del">
          <ac:chgData name="Matsuki Ko" userId="acecf8faf8d1f709" providerId="LiveId" clId="{F6FA6C4C-41B3-44C5-978E-FA3B87AEFA8B}" dt="2023-07-24T06:38:25.878" v="26" actId="478"/>
          <ac:spMkLst>
            <pc:docMk/>
            <pc:sldMk cId="2214278982" sldId="2145707841"/>
            <ac:spMk id="2" creationId="{D8AD4A9B-3A52-3E47-A8F3-906BF2507C60}"/>
          </ac:spMkLst>
        </pc:spChg>
        <pc:spChg chg="del">
          <ac:chgData name="Matsuki Ko" userId="acecf8faf8d1f709" providerId="LiveId" clId="{F6FA6C4C-41B3-44C5-978E-FA3B87AEFA8B}" dt="2023-07-24T06:38:24.950" v="25" actId="478"/>
          <ac:spMkLst>
            <pc:docMk/>
            <pc:sldMk cId="2214278982" sldId="2145707841"/>
            <ac:spMk id="3" creationId="{F2E022CE-6256-6D6C-24DE-7AA5445B1A5D}"/>
          </ac:spMkLst>
        </pc:spChg>
        <pc:graphicFrameChg chg="add mod modGraphic">
          <ac:chgData name="Matsuki Ko" userId="acecf8faf8d1f709" providerId="LiveId" clId="{F6FA6C4C-41B3-44C5-978E-FA3B87AEFA8B}" dt="2023-07-24T06:41:34.639" v="40" actId="20577"/>
          <ac:graphicFrameMkLst>
            <pc:docMk/>
            <pc:sldMk cId="2214278982" sldId="2145707841"/>
            <ac:graphicFrameMk id="4" creationId="{07626188-D2C5-F3B7-1CCC-A12864E7F032}"/>
          </ac:graphicFrameMkLst>
        </pc:graphicFrameChg>
      </pc:sldChg>
    </pc:docChg>
  </pc:docChgLst>
  <pc:docChgLst>
    <pc:chgData name="shuichi iseki" userId="22ca00780100fab7" providerId="LiveId" clId="{0F366E6E-508D-8D40-B9A0-C490247102F5}"/>
    <pc:docChg chg="undo custSel modSld">
      <pc:chgData name="shuichi iseki" userId="22ca00780100fab7" providerId="LiveId" clId="{0F366E6E-508D-8D40-B9A0-C490247102F5}" dt="2023-08-01T06:16:42.031" v="95" actId="572"/>
      <pc:docMkLst>
        <pc:docMk/>
      </pc:docMkLst>
      <pc:sldChg chg="modSp mod">
        <pc:chgData name="shuichi iseki" userId="22ca00780100fab7" providerId="LiveId" clId="{0F366E6E-508D-8D40-B9A0-C490247102F5}" dt="2023-07-25T07:55:17.206" v="64" actId="2711"/>
        <pc:sldMkLst>
          <pc:docMk/>
          <pc:sldMk cId="2165989175" sldId="256"/>
        </pc:sldMkLst>
        <pc:spChg chg="mod">
          <ac:chgData name="shuichi iseki" userId="22ca00780100fab7" providerId="LiveId" clId="{0F366E6E-508D-8D40-B9A0-C490247102F5}" dt="2023-07-25T07:55:17.206" v="64" actId="2711"/>
          <ac:spMkLst>
            <pc:docMk/>
            <pc:sldMk cId="2165989175" sldId="256"/>
            <ac:spMk id="2" creationId="{D61225F5-1F09-1707-B1AD-268B44AE621F}"/>
          </ac:spMkLst>
        </pc:spChg>
        <pc:spChg chg="mod">
          <ac:chgData name="shuichi iseki" userId="22ca00780100fab7" providerId="LiveId" clId="{0F366E6E-508D-8D40-B9A0-C490247102F5}" dt="2023-07-25T07:55:17.206" v="64" actId="2711"/>
          <ac:spMkLst>
            <pc:docMk/>
            <pc:sldMk cId="2165989175" sldId="256"/>
            <ac:spMk id="3" creationId="{ADEB2D20-988A-C169-F96B-069DA56D4143}"/>
          </ac:spMkLst>
        </pc:spChg>
      </pc:sldChg>
      <pc:sldChg chg="modSp mod">
        <pc:chgData name="shuichi iseki" userId="22ca00780100fab7" providerId="LiveId" clId="{0F366E6E-508D-8D40-B9A0-C490247102F5}" dt="2023-08-01T06:16:42.031" v="95" actId="572"/>
        <pc:sldMkLst>
          <pc:docMk/>
          <pc:sldMk cId="1998691687" sldId="2145707837"/>
        </pc:sldMkLst>
        <pc:graphicFrameChg chg="mod modGraphic">
          <ac:chgData name="shuichi iseki" userId="22ca00780100fab7" providerId="LiveId" clId="{0F366E6E-508D-8D40-B9A0-C490247102F5}" dt="2023-08-01T06:16:42.031" v="95" actId="572"/>
          <ac:graphicFrameMkLst>
            <pc:docMk/>
            <pc:sldMk cId="1998691687" sldId="2145707837"/>
            <ac:graphicFrameMk id="15" creationId="{1D4CB901-A265-FA27-C066-8A3953D299F8}"/>
          </ac:graphicFrameMkLst>
        </pc:graphicFrameChg>
        <pc:graphicFrameChg chg="mod modGraphic">
          <ac:chgData name="shuichi iseki" userId="22ca00780100fab7" providerId="LiveId" clId="{0F366E6E-508D-8D40-B9A0-C490247102F5}" dt="2023-08-01T06:14:01.725" v="75" actId="1076"/>
          <ac:graphicFrameMkLst>
            <pc:docMk/>
            <pc:sldMk cId="1998691687" sldId="2145707837"/>
            <ac:graphicFrameMk id="20" creationId="{6ACFE5E2-8299-FCBC-9EE2-053ADD04E046}"/>
          </ac:graphicFrameMkLst>
        </pc:graphicFrameChg>
      </pc:sldChg>
      <pc:sldChg chg="modSp mod">
        <pc:chgData name="shuichi iseki" userId="22ca00780100fab7" providerId="LiveId" clId="{0F366E6E-508D-8D40-B9A0-C490247102F5}" dt="2023-08-01T06:15:11.646" v="85" actId="1035"/>
        <pc:sldMkLst>
          <pc:docMk/>
          <pc:sldMk cId="2817180806" sldId="2145707839"/>
        </pc:sldMkLst>
        <pc:graphicFrameChg chg="mod modGraphic">
          <ac:chgData name="shuichi iseki" userId="22ca00780100fab7" providerId="LiveId" clId="{0F366E6E-508D-8D40-B9A0-C490247102F5}" dt="2023-08-01T06:14:10.435" v="76" actId="1076"/>
          <ac:graphicFrameMkLst>
            <pc:docMk/>
            <pc:sldMk cId="2817180806" sldId="2145707839"/>
            <ac:graphicFrameMk id="15" creationId="{58842B25-534C-BDF0-2FBC-3E8106E52033}"/>
          </ac:graphicFrameMkLst>
        </pc:graphicFrameChg>
        <pc:graphicFrameChg chg="mod modGraphic">
          <ac:chgData name="shuichi iseki" userId="22ca00780100fab7" providerId="LiveId" clId="{0F366E6E-508D-8D40-B9A0-C490247102F5}" dt="2023-08-01T06:15:11.646" v="85" actId="1035"/>
          <ac:graphicFrameMkLst>
            <pc:docMk/>
            <pc:sldMk cId="2817180806" sldId="2145707839"/>
            <ac:graphicFrameMk id="20" creationId="{EF45751B-BDF2-9549-20FF-E88C0A8FFA7B}"/>
          </ac:graphicFrameMkLst>
        </pc:graphicFrameChg>
      </pc:sldChg>
      <pc:sldChg chg="delSp modSp mod">
        <pc:chgData name="shuichi iseki" userId="22ca00780100fab7" providerId="LiveId" clId="{0F366E6E-508D-8D40-B9A0-C490247102F5}" dt="2023-08-01T06:16:02.002" v="94" actId="1076"/>
        <pc:sldMkLst>
          <pc:docMk/>
          <pc:sldMk cId="1842374520" sldId="2145707840"/>
        </pc:sldMkLst>
        <pc:spChg chg="del">
          <ac:chgData name="shuichi iseki" userId="22ca00780100fab7" providerId="LiveId" clId="{0F366E6E-508D-8D40-B9A0-C490247102F5}" dt="2023-08-01T06:15:28.131" v="87" actId="478"/>
          <ac:spMkLst>
            <pc:docMk/>
            <pc:sldMk cId="1842374520" sldId="2145707840"/>
            <ac:spMk id="3" creationId="{FE2B90BD-63DC-ED1C-4245-7B367DEAE357}"/>
          </ac:spMkLst>
        </pc:spChg>
        <pc:spChg chg="mod">
          <ac:chgData name="shuichi iseki" userId="22ca00780100fab7" providerId="LiveId" clId="{0F366E6E-508D-8D40-B9A0-C490247102F5}" dt="2023-08-01T06:16:02.002" v="94" actId="1076"/>
          <ac:spMkLst>
            <pc:docMk/>
            <pc:sldMk cId="1842374520" sldId="2145707840"/>
            <ac:spMk id="5" creationId="{EF20157F-5768-362B-F34C-4B60575B0904}"/>
          </ac:spMkLst>
        </pc:spChg>
        <pc:graphicFrameChg chg="mod modGraphic">
          <ac:chgData name="shuichi iseki" userId="22ca00780100fab7" providerId="LiveId" clId="{0F366E6E-508D-8D40-B9A0-C490247102F5}" dt="2023-08-01T06:15:33.654" v="88" actId="14734"/>
          <ac:graphicFrameMkLst>
            <pc:docMk/>
            <pc:sldMk cId="1842374520" sldId="2145707840"/>
            <ac:graphicFrameMk id="2" creationId="{EF61C181-4A8A-9111-99CB-B8EC3E5C238C}"/>
          </ac:graphicFrameMkLst>
        </pc:graphicFrameChg>
        <pc:graphicFrameChg chg="mod modGraphic">
          <ac:chgData name="shuichi iseki" userId="22ca00780100fab7" providerId="LiveId" clId="{0F366E6E-508D-8D40-B9A0-C490247102F5}" dt="2023-08-01T06:15:54.983" v="93" actId="14734"/>
          <ac:graphicFrameMkLst>
            <pc:docMk/>
            <pc:sldMk cId="1842374520" sldId="2145707840"/>
            <ac:graphicFrameMk id="15" creationId="{58842B25-534C-BDF0-2FBC-3E8106E52033}"/>
          </ac:graphicFrameMkLst>
        </pc:graphicFrameChg>
      </pc:sldChg>
    </pc:docChg>
  </pc:docChgLst>
  <pc:docChgLst>
    <pc:chgData name="iseki shuichi" userId="22ca00780100fab7" providerId="Windows Live" clId="Web-{420008E8-163A-4FE4-8A5C-B1E4E0832DBE}"/>
    <pc:docChg chg="modSld">
      <pc:chgData name="iseki shuichi" userId="22ca00780100fab7" providerId="Windows Live" clId="Web-{420008E8-163A-4FE4-8A5C-B1E4E0832DBE}" dt="2023-07-24T04:04:38.347" v="1"/>
      <pc:docMkLst>
        <pc:docMk/>
      </pc:docMkLst>
      <pc:sldChg chg="modSp">
        <pc:chgData name="iseki shuichi" userId="22ca00780100fab7" providerId="Windows Live" clId="Web-{420008E8-163A-4FE4-8A5C-B1E4E0832DBE}" dt="2023-07-24T04:04:38.347" v="1"/>
        <pc:sldMkLst>
          <pc:docMk/>
          <pc:sldMk cId="2817180806" sldId="2145707839"/>
        </pc:sldMkLst>
        <pc:graphicFrameChg chg="modGraphic">
          <ac:chgData name="iseki shuichi" userId="22ca00780100fab7" providerId="Windows Live" clId="Web-{420008E8-163A-4FE4-8A5C-B1E4E0832DBE}" dt="2023-07-24T04:04:38.347" v="1"/>
          <ac:graphicFrameMkLst>
            <pc:docMk/>
            <pc:sldMk cId="2817180806" sldId="2145707839"/>
            <ac:graphicFrameMk id="15" creationId="{58842B25-534C-BDF0-2FBC-3E8106E52033}"/>
          </ac:graphicFrameMkLst>
        </pc:graphicFrame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838" y="0"/>
            <a:ext cx="2949787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CF9F84-50CA-0E42-9990-76EEF1464A33}" type="datetimeFigureOut">
              <a:rPr kumimoji="1" lang="ja-JP" altLang="en-US" smtClean="0"/>
              <a:t>2024/5/2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2243138" y="1243013"/>
            <a:ext cx="2320925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720" y="4783307"/>
            <a:ext cx="544576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838" y="9440647"/>
            <a:ext cx="2949787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23036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ja-JP" altLang="en-US"/>
              <a:t>マスター サブタイトルの書式設定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2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805785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2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077825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2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99234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2286080"/>
              </p:ext>
            </p:extLst>
          </p:nvPr>
        </p:nvGraphicFramePr>
        <p:xfrm>
          <a:off x="1101" y="2293"/>
          <a:ext cx="1099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" name="think-cell スライド" r:id="rId4" imgW="563" imgH="564" progId="TCLayout.ActiveDocument.1">
                  <p:embed/>
                </p:oleObj>
              </mc:Choice>
              <mc:Fallback>
                <p:oleObj name="think-cell スライド" r:id="rId4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01" y="2293"/>
                        <a:ext cx="1099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288344" y="1456000"/>
            <a:ext cx="3015692" cy="676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312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310956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2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5727831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2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152573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2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923002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23</a:t>
            </a:fld>
            <a:endParaRPr kumimoji="1" lang="ja-JP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07656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23</a:t>
            </a:fld>
            <a:endParaRPr kumimoji="1" lang="ja-JP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205556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23</a:t>
            </a:fld>
            <a:endParaRPr kumimoji="1" lang="ja-JP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009040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2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2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783672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2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ja-JP" altLang="en-US"/>
              <a:t>アイコンをクリックして図を追加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5958DD-0773-AF4A-8A68-42A591722457}" type="datetimeFigureOut">
              <a:rPr kumimoji="1" lang="ja-JP" altLang="en-US" smtClean="0"/>
              <a:t>2024/5/23</a:t>
            </a:fld>
            <a:endParaRPr kumimoji="1" lang="ja-JP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971729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7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5958DD-0773-AF4A-8A68-42A591722457}" type="datetimeFigureOut">
              <a:rPr kumimoji="1" lang="ja-JP" altLang="en-US" smtClean="0"/>
              <a:t>2024/5/23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75159C-A387-754B-B07D-209260156CC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65118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kumimoji="1"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kumimoji="1"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kumimoji="1"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61225F5-1F09-1707-B1AD-268B44AE621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496780" y="4079920"/>
            <a:ext cx="9851557" cy="799534"/>
          </a:xfrm>
        </p:spPr>
        <p:txBody>
          <a:bodyPr>
            <a:normAutofit/>
          </a:bodyPr>
          <a:lstStyle/>
          <a:p>
            <a:r>
              <a:rPr lang="ja-JP" altLang="en-US" sz="3600" dirty="0">
                <a:latin typeface="Meiryo UI" panose="020B0604030504040204" pitchFamily="34" charset="-128"/>
                <a:ea typeface="Meiryo UI" panose="020B0604030504040204" pitchFamily="34" charset="-128"/>
              </a:rPr>
              <a:t>こどもスマイルムーブメント大賞</a:t>
            </a:r>
          </a:p>
        </p:txBody>
      </p:sp>
      <p:sp>
        <p:nvSpPr>
          <p:cNvPr id="3" name="字幕 2">
            <a:extLst>
              <a:ext uri="{FF2B5EF4-FFF2-40B4-BE49-F238E27FC236}">
                <a16:creationId xmlns:a16="http://schemas.microsoft.com/office/drawing/2014/main" id="{ADEB2D20-988A-C169-F96B-069DA56D414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1844" y="5024304"/>
            <a:ext cx="5654311" cy="799534"/>
          </a:xfrm>
        </p:spPr>
        <p:txBody>
          <a:bodyPr>
            <a:normAutofit/>
          </a:bodyPr>
          <a:lstStyle/>
          <a:p>
            <a:r>
              <a:rPr kumimoji="1" lang="ja-JP" altLang="en-US" sz="2800" dirty="0">
                <a:latin typeface="Meiryo UI" panose="020B0604030504040204" pitchFamily="34" charset="-128"/>
                <a:ea typeface="Meiryo UI" panose="020B0604030504040204" pitchFamily="34" charset="-128"/>
              </a:rPr>
              <a:t>取組概要書</a:t>
            </a:r>
          </a:p>
        </p:txBody>
      </p:sp>
      <p:sp>
        <p:nvSpPr>
          <p:cNvPr id="4" name="字幕 2">
            <a:extLst>
              <a:ext uri="{FF2B5EF4-FFF2-40B4-BE49-F238E27FC236}">
                <a16:creationId xmlns:a16="http://schemas.microsoft.com/office/drawing/2014/main" id="{ADEB2D20-988A-C169-F96B-069DA56D4143}"/>
              </a:ext>
            </a:extLst>
          </p:cNvPr>
          <p:cNvSpPr txBox="1">
            <a:spLocks/>
          </p:cNvSpPr>
          <p:nvPr/>
        </p:nvSpPr>
        <p:spPr>
          <a:xfrm>
            <a:off x="590269" y="3642453"/>
            <a:ext cx="2164507" cy="79953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kumimoji="1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2800" dirty="0" smtClean="0">
                <a:latin typeface="Meiryo UI" panose="020B0604030504040204" pitchFamily="34" charset="-128"/>
                <a:ea typeface="Meiryo UI" panose="020B0604030504040204" pitchFamily="34" charset="-128"/>
              </a:rPr>
              <a:t>令和６年度</a:t>
            </a:r>
            <a:endParaRPr lang="ja-JP" altLang="en-US" sz="28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659891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オブジェクト 13" hidden="1">
            <a:extLst>
              <a:ext uri="{FF2B5EF4-FFF2-40B4-BE49-F238E27FC236}">
                <a16:creationId xmlns:a16="http://schemas.microsoft.com/office/drawing/2014/main" id="{4E2110ED-461C-461A-9D89-7C2B57CD7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-3723590" y="2293"/>
          <a:ext cx="2294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スライド" r:id="rId4" imgW="251" imgH="226" progId="TCLayout.ActiveDocument.1">
                  <p:embed/>
                </p:oleObj>
              </mc:Choice>
              <mc:Fallback>
                <p:oleObj name="think-cell スライド" r:id="rId4" imgW="251" imgH="226" progId="TCLayout.ActiveDocument.1">
                  <p:embed/>
                  <p:pic>
                    <p:nvPicPr>
                      <p:cNvPr id="14" name="オブジェクト 13" hidden="1">
                        <a:extLst>
                          <a:ext uri="{FF2B5EF4-FFF2-40B4-BE49-F238E27FC236}">
                            <a16:creationId xmlns:a16="http://schemas.microsoft.com/office/drawing/2014/main" id="{4E2110ED-461C-461A-9D89-7C2B57CD7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723590" y="2293"/>
                        <a:ext cx="2294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表 15">
            <a:extLst>
              <a:ext uri="{FF2B5EF4-FFF2-40B4-BE49-F238E27FC236}">
                <a16:creationId xmlns:a16="http://schemas.microsoft.com/office/drawing/2014/main" id="{1D4CB901-A265-FA27-C066-8A3953D299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1418315"/>
              </p:ext>
            </p:extLst>
          </p:nvPr>
        </p:nvGraphicFramePr>
        <p:xfrm>
          <a:off x="198626" y="1791713"/>
          <a:ext cx="6460747" cy="752570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7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426237">
                <a:tc>
                  <a:txBody>
                    <a:bodyPr/>
                    <a:lstStyle/>
                    <a:p>
                      <a:r>
                        <a:rPr lang="ja-JP" altLang="en-US" sz="1800" b="0" i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１</a:t>
                      </a:r>
                      <a:r>
                        <a:rPr lang="en-US" altLang="ja-JP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lang="ja-JP" altLang="en-US" sz="1800" b="0" i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取組詳細（課題や内容）</a:t>
                      </a:r>
                      <a:endParaRPr kumimoji="1" lang="ja-JP" altLang="en-US" sz="1600" b="0" i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557387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実施に至った背景や課題等を踏まえて、取組の詳細を記載してください。</a:t>
                      </a:r>
                      <a:endParaRPr kumimoji="1" lang="ja-JP" altLang="en-US" sz="1400" b="0" i="0" dirty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6542083">
                <a:tc>
                  <a:txBody>
                    <a:bodyPr/>
                    <a:lstStyle/>
                    <a:p>
                      <a:pPr algn="l"/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  <p:graphicFrame>
        <p:nvGraphicFramePr>
          <p:cNvPr id="20" name="表 15">
            <a:extLst>
              <a:ext uri="{FF2B5EF4-FFF2-40B4-BE49-F238E27FC236}">
                <a16:creationId xmlns:a16="http://schemas.microsoft.com/office/drawing/2014/main" id="{6ACFE5E2-8299-FCBC-9EE2-053ADD04E04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6171697"/>
              </p:ext>
            </p:extLst>
          </p:nvPr>
        </p:nvGraphicFramePr>
        <p:xfrm>
          <a:off x="198626" y="197200"/>
          <a:ext cx="6460746" cy="1515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4012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  <a:gridCol w="4976734">
                  <a:extLst>
                    <a:ext uri="{9D8B030D-6E8A-4147-A177-3AD203B41FA5}">
                      <a16:colId xmlns:a16="http://schemas.microsoft.com/office/drawing/2014/main" val="3620918358"/>
                    </a:ext>
                  </a:extLst>
                </a:gridCol>
              </a:tblGrid>
              <a:tr h="27048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0" i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ふりがな</a:t>
                      </a:r>
                    </a:p>
                  </a:txBody>
                  <a:tcPr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800" b="0" i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600" b="0" i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企業・団体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1" lang="ja-JP" altLang="en-US" sz="1800" b="0" i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5453920"/>
                  </a:ext>
                </a:extLst>
              </a:tr>
              <a:tr h="14562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ふりがな</a:t>
                      </a:r>
                    </a:p>
                  </a:txBody>
                  <a:tcPr marL="90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b="0" i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marL="90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600" b="0" i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担当者名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ja-JP" altLang="en-US" sz="1400" b="0" i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80139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986916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オブジェクト 13" hidden="1">
            <a:extLst>
              <a:ext uri="{FF2B5EF4-FFF2-40B4-BE49-F238E27FC236}">
                <a16:creationId xmlns:a16="http://schemas.microsoft.com/office/drawing/2014/main" id="{4E2110ED-461C-461A-9D89-7C2B57CD7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-3723590" y="2293"/>
          <a:ext cx="2294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スライド" r:id="rId4" imgW="251" imgH="226" progId="TCLayout.ActiveDocument.1">
                  <p:embed/>
                </p:oleObj>
              </mc:Choice>
              <mc:Fallback>
                <p:oleObj name="think-cell スライド" r:id="rId4" imgW="251" imgH="226" progId="TCLayout.ActiveDocument.1">
                  <p:embed/>
                  <p:pic>
                    <p:nvPicPr>
                      <p:cNvPr id="14" name="オブジェクト 13" hidden="1">
                        <a:extLst>
                          <a:ext uri="{FF2B5EF4-FFF2-40B4-BE49-F238E27FC236}">
                            <a16:creationId xmlns:a16="http://schemas.microsoft.com/office/drawing/2014/main" id="{4E2110ED-461C-461A-9D89-7C2B57CD7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723590" y="2293"/>
                        <a:ext cx="2294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表 15">
            <a:extLst>
              <a:ext uri="{FF2B5EF4-FFF2-40B4-BE49-F238E27FC236}">
                <a16:creationId xmlns:a16="http://schemas.microsoft.com/office/drawing/2014/main" id="{58842B25-534C-BDF0-2FBC-3E8106E52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42338174"/>
              </p:ext>
            </p:extLst>
          </p:nvPr>
        </p:nvGraphicFramePr>
        <p:xfrm>
          <a:off x="198627" y="197200"/>
          <a:ext cx="6460745" cy="451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5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ja-JP" altLang="en-US" sz="1800" b="0" i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２</a:t>
                      </a:r>
                      <a:r>
                        <a:rPr lang="en-US" altLang="ja-JP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lang="ja-JP" altLang="en-US" sz="1800" b="0" i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取組における先進性・オリジナリティ</a:t>
                      </a:r>
                      <a:endParaRPr kumimoji="1" lang="ja-JP" altLang="en-US" sz="1600" b="0" i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558000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取組、またはそのプロセスにおいて、</a:t>
                      </a:r>
                      <a:r>
                        <a:rPr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特長的・</a:t>
                      </a: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先進</a:t>
                      </a:r>
                      <a:r>
                        <a:rPr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的・オリジナリティ</a:t>
                      </a: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がある</a:t>
                      </a:r>
                      <a:r>
                        <a:rPr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こと</a:t>
                      </a: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を記載してください。​</a:t>
                      </a:r>
                      <a:endParaRPr kumimoji="1" lang="en-US" altLang="ja-JP" sz="1400" b="0" i="0" dirty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3528000">
                <a:tc>
                  <a:txBody>
                    <a:bodyPr/>
                    <a:lstStyle/>
                    <a:p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  <p:graphicFrame>
        <p:nvGraphicFramePr>
          <p:cNvPr id="20" name="表 15">
            <a:extLst>
              <a:ext uri="{FF2B5EF4-FFF2-40B4-BE49-F238E27FC236}">
                <a16:creationId xmlns:a16="http://schemas.microsoft.com/office/drawing/2014/main" id="{EF45751B-BDF2-9549-20FF-E88C0A8FFA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1926329"/>
              </p:ext>
            </p:extLst>
          </p:nvPr>
        </p:nvGraphicFramePr>
        <p:xfrm>
          <a:off x="198627" y="4797182"/>
          <a:ext cx="6460745" cy="4517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5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ja-JP" altLang="en-US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３</a:t>
                      </a:r>
                      <a:r>
                        <a:rPr lang="en-US" altLang="ja-JP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lang="ja-JP" altLang="en-US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取組に</a:t>
                      </a:r>
                      <a:r>
                        <a:rPr lang="ja-JP" altLang="en-US" sz="1800" b="0" i="0" dirty="0" smtClean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おける課題解決性・社会貢献度</a:t>
                      </a:r>
                      <a:endParaRPr kumimoji="1" lang="ja-JP" altLang="en-US" sz="1600" b="0" i="0" dirty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55799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ja-JP" sz="1400" b="0" i="0" kern="1200" dirty="0" smtClean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子供・子育て世代のニーズを捉え、社会課題等の解決に資する取組であること</a:t>
                      </a:r>
                      <a:r>
                        <a:rPr kumimoji="1" lang="ja-JP" altLang="en-US" sz="1400" b="0" i="0" kern="1200" dirty="0" smtClean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を記載してください。</a:t>
                      </a:r>
                      <a:endParaRPr kumimoji="1" lang="ja-JP" altLang="ja-JP" sz="1400" b="0" i="0" kern="1200" dirty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3528000">
                <a:tc>
                  <a:txBody>
                    <a:bodyPr/>
                    <a:lstStyle/>
                    <a:p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46687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オブジェクト 13" hidden="1">
            <a:extLst>
              <a:ext uri="{FF2B5EF4-FFF2-40B4-BE49-F238E27FC236}">
                <a16:creationId xmlns:a16="http://schemas.microsoft.com/office/drawing/2014/main" id="{4E2110ED-461C-461A-9D89-7C2B57CD7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-3723590" y="2293"/>
          <a:ext cx="2294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3" name="think-cell スライド" r:id="rId4" imgW="251" imgH="226" progId="TCLayout.ActiveDocument.1">
                  <p:embed/>
                </p:oleObj>
              </mc:Choice>
              <mc:Fallback>
                <p:oleObj name="think-cell スライド" r:id="rId4" imgW="251" imgH="226" progId="TCLayout.ActiveDocument.1">
                  <p:embed/>
                  <p:pic>
                    <p:nvPicPr>
                      <p:cNvPr id="14" name="オブジェクト 13" hidden="1">
                        <a:extLst>
                          <a:ext uri="{FF2B5EF4-FFF2-40B4-BE49-F238E27FC236}">
                            <a16:creationId xmlns:a16="http://schemas.microsoft.com/office/drawing/2014/main" id="{4E2110ED-461C-461A-9D89-7C2B57CD7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723590" y="2293"/>
                        <a:ext cx="2294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表 15">
            <a:extLst>
              <a:ext uri="{FF2B5EF4-FFF2-40B4-BE49-F238E27FC236}">
                <a16:creationId xmlns:a16="http://schemas.microsoft.com/office/drawing/2014/main" id="{EF45751B-BDF2-9549-20FF-E88C0A8FFA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6110553"/>
              </p:ext>
            </p:extLst>
          </p:nvPr>
        </p:nvGraphicFramePr>
        <p:xfrm>
          <a:off x="198627" y="239031"/>
          <a:ext cx="6460745" cy="45179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5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432000">
                <a:tc>
                  <a:txBody>
                    <a:bodyPr/>
                    <a:lstStyle/>
                    <a:p>
                      <a:r>
                        <a:rPr lang="ja-JP" altLang="en-US" sz="1800" b="0" i="0" dirty="0" smtClean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４</a:t>
                      </a:r>
                      <a:r>
                        <a:rPr lang="en-US" altLang="ja-JP" sz="1800" b="0" i="0" dirty="0" smtClean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lang="ja-JP" altLang="en-US" sz="18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取組における波及効果</a:t>
                      </a:r>
                      <a:endParaRPr kumimoji="1" lang="ja-JP" altLang="en-US" sz="1600" b="0" i="0" dirty="0">
                        <a:solidFill>
                          <a:schemeClr val="tx1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55799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b="0" i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社会に新たな視点を提供する話題性や影響をもたらし、</a:t>
                      </a:r>
                      <a:r>
                        <a:rPr lang="ja-JP" altLang="en-US" sz="1400" b="0" i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他企業・団体への波及効果が期待できること</a:t>
                      </a:r>
                      <a:r>
                        <a:rPr kumimoji="1" lang="ja-JP" altLang="en-US" sz="1400" b="0" i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を記載してください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3528000">
                <a:tc>
                  <a:txBody>
                    <a:bodyPr/>
                    <a:lstStyle/>
                    <a:p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  <p:graphicFrame>
        <p:nvGraphicFramePr>
          <p:cNvPr id="6" name="表 15">
            <a:extLst>
              <a:ext uri="{FF2B5EF4-FFF2-40B4-BE49-F238E27FC236}">
                <a16:creationId xmlns:a16="http://schemas.microsoft.com/office/drawing/2014/main" id="{EF61C181-4A8A-9111-99CB-B8EC3E5C23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2680073"/>
              </p:ext>
            </p:extLst>
          </p:nvPr>
        </p:nvGraphicFramePr>
        <p:xfrm>
          <a:off x="198627" y="4907739"/>
          <a:ext cx="6460746" cy="44136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4012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  <a:gridCol w="4976734">
                  <a:extLst>
                    <a:ext uri="{9D8B030D-6E8A-4147-A177-3AD203B41FA5}">
                      <a16:colId xmlns:a16="http://schemas.microsoft.com/office/drawing/2014/main" val="2281882832"/>
                    </a:ext>
                  </a:extLst>
                </a:gridCol>
              </a:tblGrid>
              <a:tr h="381203">
                <a:tc gridSpan="2">
                  <a:txBody>
                    <a:bodyPr/>
                    <a:lstStyle/>
                    <a:p>
                      <a:r>
                        <a:rPr lang="ja-JP" altLang="en-US" sz="1800" b="0" i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５</a:t>
                      </a:r>
                      <a:r>
                        <a:rPr lang="en-US" altLang="ja-JP" sz="1800" b="0" i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.</a:t>
                      </a:r>
                      <a:r>
                        <a:rPr lang="ja-JP" altLang="en-US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取組を実施した期間と今後の計画</a:t>
                      </a:r>
                      <a:endParaRPr kumimoji="1" lang="ja-JP" altLang="en-US" sz="1800" b="0" i="0" dirty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606891">
                <a:tc gridSpan="2">
                  <a:txBody>
                    <a:bodyPr/>
                    <a:lstStyle/>
                    <a:p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取組を実施してきた期間</a:t>
                      </a:r>
                      <a:r>
                        <a:rPr kumimoji="1" lang="en-US" altLang="ja-JP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(</a:t>
                      </a: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見込みの期間も可</a:t>
                      </a:r>
                      <a:r>
                        <a:rPr kumimoji="1" lang="en-US" altLang="ja-JP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)</a:t>
                      </a: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を記載し、引き続き取組を実施する場合は、今後の計画を記載してください。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979175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0" i="0"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実施期間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b="0" i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  <a:tr h="2446413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b="0" i="0"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今後の計画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44291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171808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オブジェクト 13" hidden="1">
            <a:extLst>
              <a:ext uri="{FF2B5EF4-FFF2-40B4-BE49-F238E27FC236}">
                <a16:creationId xmlns:a16="http://schemas.microsoft.com/office/drawing/2014/main" id="{4E2110ED-461C-461A-9D89-7C2B57CD7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-3723590" y="2293"/>
          <a:ext cx="2294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スライド" r:id="rId4" imgW="251" imgH="226" progId="TCLayout.ActiveDocument.1">
                  <p:embed/>
                </p:oleObj>
              </mc:Choice>
              <mc:Fallback>
                <p:oleObj name="think-cell スライド" r:id="rId4" imgW="251" imgH="226" progId="TCLayout.ActiveDocument.1">
                  <p:embed/>
                  <p:pic>
                    <p:nvPicPr>
                      <p:cNvPr id="14" name="オブジェクト 13" hidden="1">
                        <a:extLst>
                          <a:ext uri="{FF2B5EF4-FFF2-40B4-BE49-F238E27FC236}">
                            <a16:creationId xmlns:a16="http://schemas.microsoft.com/office/drawing/2014/main" id="{4E2110ED-461C-461A-9D89-7C2B57CD7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3723590" y="2293"/>
                        <a:ext cx="2294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表 15">
            <a:extLst>
              <a:ext uri="{FF2B5EF4-FFF2-40B4-BE49-F238E27FC236}">
                <a16:creationId xmlns:a16="http://schemas.microsoft.com/office/drawing/2014/main" id="{58842B25-534C-BDF0-2FBC-3E8106E520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00573206"/>
              </p:ext>
            </p:extLst>
          </p:nvPr>
        </p:nvGraphicFramePr>
        <p:xfrm>
          <a:off x="198627" y="263236"/>
          <a:ext cx="6460745" cy="84845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0745">
                  <a:extLst>
                    <a:ext uri="{9D8B030D-6E8A-4147-A177-3AD203B41FA5}">
                      <a16:colId xmlns:a16="http://schemas.microsoft.com/office/drawing/2014/main" val="2138157011"/>
                    </a:ext>
                  </a:extLst>
                </a:gridCol>
              </a:tblGrid>
              <a:tr h="484559">
                <a:tc>
                  <a:txBody>
                    <a:bodyPr/>
                    <a:lstStyle/>
                    <a:p>
                      <a:r>
                        <a:rPr lang="ja-JP" altLang="en-US" sz="1800" b="0" i="0" dirty="0" smtClean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６．</a:t>
                      </a:r>
                      <a:r>
                        <a:rPr lang="ja-JP" altLang="en-US" sz="1800" b="0" i="0" dirty="0">
                          <a:solidFill>
                            <a:sysClr val="windowText" lastClr="000000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  <a:cs typeface="+mn-cs"/>
                        </a:rPr>
                        <a:t>その他</a:t>
                      </a:r>
                      <a:endParaRPr kumimoji="1" lang="ja-JP" altLang="en-US" sz="1600" b="0" i="0" dirty="0">
                        <a:solidFill>
                          <a:sysClr val="windowText" lastClr="000000"/>
                        </a:solidFill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59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1527674"/>
                  </a:ext>
                </a:extLst>
              </a:tr>
              <a:tr h="782121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kumimoji="1" lang="ja-JP" altLang="en-US" sz="1400" b="0" i="0" dirty="0">
                          <a:solidFill>
                            <a:schemeClr val="tx1"/>
                          </a:solidFill>
                          <a:latin typeface="Meiryo UI" panose="020B0604030504040204" pitchFamily="34" charset="-128"/>
                          <a:ea typeface="Meiryo UI" panose="020B0604030504040204" pitchFamily="34" charset="-128"/>
                        </a:rPr>
                        <a:t>「募集要項６（２）審査における主な観点」で記載されている「協働性・牽引性」以降の事項に係る内容、または、その他特筆すべき内容について記載してください。</a:t>
                      </a:r>
                      <a:endParaRPr kumimoji="1" lang="ja-JP" altLang="en-US" sz="14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52788864"/>
                  </a:ext>
                </a:extLst>
              </a:tr>
              <a:tr h="7217844">
                <a:tc>
                  <a:txBody>
                    <a:bodyPr/>
                    <a:lstStyle/>
                    <a:p>
                      <a:endParaRPr kumimoji="1" lang="ja-JP" altLang="en-US" b="0" i="0" dirty="0">
                        <a:latin typeface="Meiryo UI" panose="020B0604030504040204" pitchFamily="34" charset="-128"/>
                        <a:ea typeface="Meiryo UI" panose="020B0604030504040204" pitchFamily="34" charset="-128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940997"/>
                  </a:ext>
                </a:extLst>
              </a:tr>
            </a:tbl>
          </a:graphicData>
        </a:graphic>
      </p:graphicFrame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EF20157F-5768-362B-F34C-4B60575B0904}"/>
              </a:ext>
            </a:extLst>
          </p:cNvPr>
          <p:cNvSpPr txBox="1"/>
          <p:nvPr/>
        </p:nvSpPr>
        <p:spPr>
          <a:xfrm>
            <a:off x="198627" y="8747760"/>
            <a:ext cx="5988813" cy="110799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（注） </a:t>
            </a:r>
            <a:endParaRPr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228600" indent="-228600">
              <a:buFont typeface="+mj-lt"/>
              <a:buAutoNum type="arabicPeriod"/>
            </a:pP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用紙は、</a:t>
            </a:r>
            <a:r>
              <a:rPr lang="ja-JP" altLang="en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Ａ４</a:t>
            </a: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サイズを使用してください。 </a:t>
            </a:r>
            <a:endParaRPr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228600" indent="-228600">
              <a:buFont typeface="+mj-lt"/>
              <a:buAutoNum type="arabicPeriod"/>
            </a:pP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記載欄が不足する場合は、適宜、欄を拡張して記載してください。 </a:t>
            </a:r>
            <a:b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</a:b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ただし最大</a:t>
            </a:r>
            <a:r>
              <a:rPr lang="en-US" altLang="ja-JP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5</a:t>
            </a: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枚（表紙は除く）にしてください。</a:t>
            </a:r>
            <a:endParaRPr lang="en-US" altLang="ja-JP" sz="1100" dirty="0">
              <a:latin typeface="Meiryo UI" panose="020B0604030504040204" pitchFamily="34" charset="-128"/>
              <a:ea typeface="Meiryo UI" panose="020B0604030504040204" pitchFamily="34" charset="-128"/>
            </a:endParaRPr>
          </a:p>
          <a:p>
            <a:pPr marL="228600" indent="-228600">
              <a:buFont typeface="+mj-lt"/>
              <a:buAutoNum type="arabicPeriod"/>
            </a:pPr>
            <a:r>
              <a:rPr lang="ja-JP" altLang="en-US" sz="1100" dirty="0">
                <a:latin typeface="Meiryo UI" panose="020B0604030504040204" pitchFamily="34" charset="-128"/>
                <a:ea typeface="Meiryo UI" panose="020B0604030504040204" pitchFamily="34" charset="-128"/>
              </a:rPr>
              <a:t>記載欄に余剰がある場合は、上記形式内において、取組実績や写真等ほかの事項も記載いただいて構いません。</a:t>
            </a:r>
          </a:p>
        </p:txBody>
      </p:sp>
    </p:spTree>
    <p:extLst>
      <p:ext uri="{BB962C8B-B14F-4D97-AF65-F5344CB8AC3E}">
        <p14:creationId xmlns:p14="http://schemas.microsoft.com/office/powerpoint/2010/main" val="18423745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テーマ">
  <a:themeElements>
    <a:clrScheme name="Office テーマ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テーマ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73</TotalTime>
  <Words>313</Words>
  <Application>Microsoft Office PowerPoint</Application>
  <PresentationFormat>A4 210 x 297 mm</PresentationFormat>
  <Paragraphs>25</Paragraphs>
  <Slides>5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5</vt:i4>
      </vt:variant>
    </vt:vector>
  </HeadingPairs>
  <TitlesOfParts>
    <vt:vector size="13" baseType="lpstr">
      <vt:lpstr>Meiryo UI</vt:lpstr>
      <vt:lpstr>游ゴシック</vt:lpstr>
      <vt:lpstr>游ゴシック Light</vt:lpstr>
      <vt:lpstr>Arial</vt:lpstr>
      <vt:lpstr>Calibri</vt:lpstr>
      <vt:lpstr>Calibri Light</vt:lpstr>
      <vt:lpstr>Office テーマ</vt:lpstr>
      <vt:lpstr>think-cell スライド</vt:lpstr>
      <vt:lpstr>こどもスマイルムーブメント大賞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こどもスマイルムーブメント大賞</dc:title>
  <dc:creator>井関 修一</dc:creator>
  <cp:lastModifiedBy>峯田　光</cp:lastModifiedBy>
  <cp:revision>21</cp:revision>
  <cp:lastPrinted>2024-05-20T07:40:24Z</cp:lastPrinted>
  <dcterms:created xsi:type="dcterms:W3CDTF">2023-07-22T13:11:07Z</dcterms:created>
  <dcterms:modified xsi:type="dcterms:W3CDTF">2024-05-23T05:48:04Z</dcterms:modified>
</cp:coreProperties>
</file>